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319" r:id="rId6"/>
    <p:sldId id="320" r:id="rId7"/>
    <p:sldId id="321" r:id="rId8"/>
    <p:sldId id="325" r:id="rId9"/>
    <p:sldId id="328" r:id="rId10"/>
    <p:sldId id="327" r:id="rId11"/>
    <p:sldId id="329" r:id="rId12"/>
    <p:sldId id="330" r:id="rId13"/>
    <p:sldId id="324" r:id="rId14"/>
    <p:sldId id="261" r:id="rId15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EAD9"/>
    <a:srgbClr val="E9F4EA"/>
    <a:srgbClr val="A8D4B3"/>
    <a:srgbClr val="82C493"/>
    <a:srgbClr val="009F6F"/>
    <a:srgbClr val="003233"/>
    <a:srgbClr val="00684B"/>
    <a:srgbClr val="019F6E"/>
    <a:srgbClr val="00885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Estilo com Tema 1 - Ênfas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50" autoAdjust="0"/>
    <p:restoredTop sz="94660"/>
  </p:normalViewPr>
  <p:slideViewPr>
    <p:cSldViewPr snapToGrid="0">
      <p:cViewPr varScale="1">
        <p:scale>
          <a:sx n="74" d="100"/>
          <a:sy n="74" d="100"/>
        </p:scale>
        <p:origin x="43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728" y="2376000"/>
            <a:ext cx="6120000" cy="1226037"/>
          </a:xfrm>
        </p:spPr>
        <p:txBody>
          <a:bodyPr anchor="t" anchorCtr="0"/>
          <a:lstStyle>
            <a:lvl1pPr algn="l">
              <a:defRPr sz="4000">
                <a:solidFill>
                  <a:srgbClr val="00684B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8A48F9AF-7103-4462-AEFD-409FBB5A5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7728" y="4104000"/>
            <a:ext cx="6120000" cy="407113"/>
          </a:xfrm>
        </p:spPr>
        <p:txBody>
          <a:bodyPr anchor="t" anchorCtr="0"/>
          <a:lstStyle>
            <a:lvl1pPr marL="0" indent="0" algn="l">
              <a:buNone/>
              <a:defRPr sz="2000">
                <a:solidFill>
                  <a:srgbClr val="00684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name of presenter/author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5DD4D2CA-3D35-4729-8142-BAACC57754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800" y="460800"/>
            <a:ext cx="2763720" cy="12960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57E90FE8-F7B8-417C-9B01-B523EE968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7728" y="4572000"/>
            <a:ext cx="4114800" cy="26264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rgbClr val="019F6E"/>
                </a:solidFill>
              </a:defRPr>
            </a:lvl1pPr>
            <a:lvl2pPr marL="0" indent="0">
              <a:buNone/>
              <a:defRPr sz="1400">
                <a:solidFill>
                  <a:srgbClr val="019F6E"/>
                </a:solidFill>
              </a:defRPr>
            </a:lvl2pPr>
            <a:lvl3pPr marL="0" indent="0">
              <a:buNone/>
              <a:defRPr sz="1400">
                <a:solidFill>
                  <a:srgbClr val="A8D4B3"/>
                </a:solidFill>
              </a:defRPr>
            </a:lvl3pPr>
            <a:lvl4pPr marL="0" indent="0">
              <a:buNone/>
              <a:defRPr sz="1400">
                <a:solidFill>
                  <a:srgbClr val="A8D4B3"/>
                </a:solidFill>
              </a:defRPr>
            </a:lvl4pPr>
            <a:lvl5pPr marL="0" indent="0">
              <a:buNone/>
              <a:defRPr sz="1400">
                <a:solidFill>
                  <a:srgbClr val="A8D4B3"/>
                </a:solidFill>
              </a:defRPr>
            </a:lvl5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="" xmlns:a16="http://schemas.microsoft.com/office/drawing/2014/main" id="{FC85E1B6-1F6E-4B9C-A46C-6AA04E73CB0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0800" y="5264709"/>
            <a:ext cx="2664000" cy="11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dirty="0"/>
              <a:t>Click insert image icon to add partner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36883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file page">
    <p:bg>
      <p:bgPr>
        <a:solidFill>
          <a:srgbClr val="D7EA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40000" y="2700000"/>
            <a:ext cx="6493188" cy="634871"/>
          </a:xfrm>
        </p:spPr>
        <p:txBody>
          <a:bodyPr anchor="t" anchorCtr="0"/>
          <a:lstStyle>
            <a:lvl1pPr algn="l">
              <a:defRPr sz="3200">
                <a:solidFill>
                  <a:srgbClr val="00684B"/>
                </a:solidFill>
              </a:defRPr>
            </a:lvl1pPr>
          </a:lstStyle>
          <a:p>
            <a:r>
              <a:rPr lang="en-US" dirty="0"/>
              <a:t>Click to add nam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8A48F9AF-7103-4462-AEFD-409FBB5A5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40000" y="3420000"/>
            <a:ext cx="6493187" cy="407113"/>
          </a:xfrm>
        </p:spPr>
        <p:txBody>
          <a:bodyPr anchor="t" anchorCtr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job title / position / department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="" xmlns:a16="http://schemas.microsoft.com/office/drawing/2014/main" id="{5849714A-D265-4796-A514-DD60718A8AF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584000" y="1764000"/>
            <a:ext cx="3168000" cy="3168000"/>
          </a:xfrm>
          <a:prstGeom prst="flowChartConnector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profile pictu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1FF0B4E-2BBA-4B67-B83A-9399E80538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8073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6279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9D0E9C4-41BE-42C2-9C65-E3477D84B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134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ssion Statement">
    <p:bg>
      <p:bgPr>
        <a:gradFill>
          <a:gsLst>
            <a:gs pos="100000">
              <a:schemeClr val="bg1"/>
            </a:gs>
            <a:gs pos="0">
              <a:srgbClr val="D7EA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B6B69805-2955-450B-B9AB-337B022C8AFB}"/>
              </a:ext>
            </a:extLst>
          </p:cNvPr>
          <p:cNvSpPr txBox="1"/>
          <p:nvPr userDrawn="1"/>
        </p:nvSpPr>
        <p:spPr>
          <a:xfrm>
            <a:off x="685980" y="1660825"/>
            <a:ext cx="938352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We bring together</a:t>
            </a:r>
          </a:p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people, cultures and ideas</a:t>
            </a:r>
          </a:p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to develop responsible</a:t>
            </a:r>
          </a:p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leaders who transform</a:t>
            </a:r>
          </a:p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business and society.</a:t>
            </a:r>
          </a:p>
        </p:txBody>
      </p:sp>
      <p:sp>
        <p:nvSpPr>
          <p:cNvPr id="7" name="Title 4">
            <a:extLst>
              <a:ext uri="{FF2B5EF4-FFF2-40B4-BE49-F238E27FC236}">
                <a16:creationId xmlns="" xmlns:a16="http://schemas.microsoft.com/office/drawing/2014/main" id="{54F91CC2-DF87-4901-862B-01A5DF927BAB}"/>
              </a:ext>
            </a:extLst>
          </p:cNvPr>
          <p:cNvSpPr txBox="1">
            <a:spLocks/>
          </p:cNvSpPr>
          <p:nvPr userDrawn="1"/>
        </p:nvSpPr>
        <p:spPr>
          <a:xfrm>
            <a:off x="779694" y="307504"/>
            <a:ext cx="8476912" cy="9396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00684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Our mission</a:t>
            </a:r>
          </a:p>
        </p:txBody>
      </p:sp>
    </p:spTree>
    <p:extLst>
      <p:ext uri="{BB962C8B-B14F-4D97-AF65-F5344CB8AC3E}">
        <p14:creationId xmlns:p14="http://schemas.microsoft.com/office/powerpoint/2010/main" val="39011101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2CDA9C1F-B0E1-4E14-B806-3A09374DE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2511DB0A-ADCD-4646-8411-A124A9FDD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2AC2DF5-468A-4BCC-A129-C7EA5398B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4234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1">
    <p:bg>
      <p:bgPr>
        <a:solidFill>
          <a:srgbClr val="0068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0" y="4464000"/>
            <a:ext cx="5773188" cy="1952675"/>
          </a:xfrm>
        </p:spPr>
        <p:txBody>
          <a:bodyPr anchor="t" anchorCtr="0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divider title / tex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7A59965-B680-413E-993A-87FD442CB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7530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5217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bg>
      <p:bgPr>
        <a:solidFill>
          <a:srgbClr val="019F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0" y="4464000"/>
            <a:ext cx="5773188" cy="1952675"/>
          </a:xfrm>
        </p:spPr>
        <p:txBody>
          <a:bodyPr anchor="t" anchorCtr="0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divider title / tex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7A59965-B680-413E-993A-87FD442CB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7530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64077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bg>
      <p:bgPr>
        <a:solidFill>
          <a:srgbClr val="82C49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0" y="4464000"/>
            <a:ext cx="5773188" cy="1952675"/>
          </a:xfrm>
        </p:spPr>
        <p:txBody>
          <a:bodyPr anchor="t" anchorCtr="0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divider title / tex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7A59965-B680-413E-993A-87FD442CB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7530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38704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page">
    <p:bg>
      <p:bgPr>
        <a:solidFill>
          <a:srgbClr val="0088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CADEED6-E212-4E54-B8BA-B37A60C88F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0" y="1710000"/>
            <a:ext cx="4913280" cy="2304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F667C42E-C85E-46EB-9ADD-E238CB060956}"/>
              </a:ext>
            </a:extLst>
          </p:cNvPr>
          <p:cNvGrpSpPr/>
          <p:nvPr userDrawn="1"/>
        </p:nvGrpSpPr>
        <p:grpSpPr>
          <a:xfrm>
            <a:off x="2949858" y="5667494"/>
            <a:ext cx="6374581" cy="369332"/>
            <a:chOff x="2341913" y="5583536"/>
            <a:chExt cx="6374581" cy="369332"/>
          </a:xfrm>
        </p:grpSpPr>
        <p:sp>
          <p:nvSpPr>
            <p:cNvPr id="7" name="Rectangle 6">
              <a:extLst>
                <a:ext uri="{FF2B5EF4-FFF2-40B4-BE49-F238E27FC236}">
                  <a16:creationId xmlns="" xmlns:a16="http://schemas.microsoft.com/office/drawing/2014/main" id="{E15E2FCA-8276-48DE-A923-1058F3DB8D20}"/>
                </a:ext>
              </a:extLst>
            </p:cNvPr>
            <p:cNvSpPr/>
            <p:nvPr userDrawn="1"/>
          </p:nvSpPr>
          <p:spPr>
            <a:xfrm>
              <a:off x="4947953" y="5583536"/>
              <a:ext cx="70303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Asia</a:t>
              </a:r>
              <a:endParaRPr lang="en-GB" dirty="0">
                <a:latin typeface="+mj-lt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0788485C-9A9D-471D-8135-2376FCF7D684}"/>
                </a:ext>
              </a:extLst>
            </p:cNvPr>
            <p:cNvSpPr/>
            <p:nvPr userDrawn="1"/>
          </p:nvSpPr>
          <p:spPr>
            <a:xfrm>
              <a:off x="2341913" y="5583536"/>
              <a:ext cx="116023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Europe</a:t>
              </a:r>
              <a:endParaRPr lang="en-GB" dirty="0">
                <a:latin typeface="+mj-lt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3F43B963-2B8F-47AB-93C9-353451D5E4D4}"/>
                </a:ext>
              </a:extLst>
            </p:cNvPr>
            <p:cNvSpPr/>
            <p:nvPr userDrawn="1"/>
          </p:nvSpPr>
          <p:spPr>
            <a:xfrm>
              <a:off x="7179089" y="5583536"/>
              <a:ext cx="153740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Middle East</a:t>
              </a:r>
              <a:endParaRPr lang="en-GB" dirty="0">
                <a:latin typeface="+mj-lt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854F022B-E432-402A-BBCA-52C830EAFCFB}"/>
                </a:ext>
              </a:extLst>
            </p:cNvPr>
            <p:cNvSpPr/>
            <p:nvPr userDrawn="1"/>
          </p:nvSpPr>
          <p:spPr>
            <a:xfrm>
              <a:off x="4024409" y="5583536"/>
              <a:ext cx="27327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|</a:t>
              </a:r>
              <a:endParaRPr lang="en-GB" dirty="0">
                <a:latin typeface="+mj-lt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="" xmlns:a16="http://schemas.microsoft.com/office/drawing/2014/main" id="{A1E20F32-AF15-4341-9ED1-A3DC3AEDC23E}"/>
                </a:ext>
              </a:extLst>
            </p:cNvPr>
            <p:cNvSpPr/>
            <p:nvPr userDrawn="1"/>
          </p:nvSpPr>
          <p:spPr>
            <a:xfrm>
              <a:off x="6292121" y="5583536"/>
              <a:ext cx="27327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|</a:t>
              </a:r>
              <a:endParaRPr lang="en-GB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2905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C8EF1812-5BD6-4963-9B40-06EA6BC0B8BC}"/>
              </a:ext>
            </a:extLst>
          </p:cNvPr>
          <p:cNvSpPr/>
          <p:nvPr userDrawn="1"/>
        </p:nvSpPr>
        <p:spPr>
          <a:xfrm>
            <a:off x="6072000" y="0"/>
            <a:ext cx="6120000" cy="2916000"/>
          </a:xfrm>
          <a:prstGeom prst="rect">
            <a:avLst/>
          </a:prstGeom>
          <a:solidFill>
            <a:srgbClr val="006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0400" y="432000"/>
            <a:ext cx="4912788" cy="1226037"/>
          </a:xfrm>
        </p:spPr>
        <p:txBody>
          <a:bodyPr anchor="t" anchorCtr="0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8A48F9AF-7103-4462-AEFD-409FBB5A5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20400" y="1944000"/>
            <a:ext cx="4912787" cy="407113"/>
          </a:xfrm>
        </p:spPr>
        <p:txBody>
          <a:bodyPr anchor="t" anchorCtr="0"/>
          <a:lstStyle>
            <a:lvl1pPr marL="0" indent="0" algn="l">
              <a:buNone/>
              <a:defRPr sz="2000">
                <a:solidFill>
                  <a:srgbClr val="A8D4B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 title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5DD4D2CA-3D35-4729-8142-BAACC57754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0" y="468000"/>
            <a:ext cx="1152000" cy="11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9502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e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6381" y="1461333"/>
            <a:ext cx="10735277" cy="4955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6957F5C3-24BF-419F-8AAA-628CD8089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3B833B1-4B3C-48B5-BF2B-6DA541261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9162303-D2F5-436B-8027-AB2D97CF7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9896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6381" y="1461333"/>
            <a:ext cx="5220000" cy="4955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6957F5C3-24BF-419F-8AAA-628CD8089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3B833B1-4B3C-48B5-BF2B-6DA541261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9162303-D2F5-436B-8027-AB2D97CF7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="" xmlns:a16="http://schemas.microsoft.com/office/drawing/2014/main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3188" y="1449388"/>
            <a:ext cx="5220000" cy="4955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46907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EB64B32-147F-436F-9421-ED91D65EA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4DEEA3C-92A4-459B-8781-C57B2AB5AC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4412" y="1449387"/>
            <a:ext cx="5184000" cy="496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80D78CCE-A118-4326-A3B2-DFFC0430E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CC947D7E-314E-4CE3-AEDD-1C330935B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414CDFA8-4D97-40AC-B45D-1E05CEDD2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5CAA749D-0BF2-4D9C-AA00-55347A94D38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53515" y="1450100"/>
            <a:ext cx="5184000" cy="49672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016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6381" y="1461334"/>
            <a:ext cx="5220000" cy="246609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="" xmlns:a16="http://schemas.microsoft.com/office/drawing/2014/main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3188" y="1461334"/>
            <a:ext cx="5220000" cy="246609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3B38CAF5-14FD-422A-AFCA-9DF40C4AF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3275" y="4186899"/>
            <a:ext cx="10729913" cy="22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24964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5745" y="3332995"/>
            <a:ext cx="3384000" cy="308368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="" xmlns:a16="http://schemas.microsoft.com/office/drawing/2014/main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82026" y="3332995"/>
            <a:ext cx="3384000" cy="308368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70EF7A9E-72DA-482F-86B5-42277E49061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47965" y="3332995"/>
            <a:ext cx="3384000" cy="308368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DDFABD25-8427-4311-BB52-DB2FF1EB9A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2934" y="2900008"/>
            <a:ext cx="3384000" cy="287338"/>
          </a:xfrm>
        </p:spPr>
        <p:txBody>
          <a:bodyPr/>
          <a:lstStyle>
            <a:lvl1pPr>
              <a:defRPr sz="1500">
                <a:solidFill>
                  <a:srgbClr val="019F6E"/>
                </a:solidFill>
              </a:defRPr>
            </a:lvl1pPr>
            <a:lvl2pPr>
              <a:defRPr sz="1500">
                <a:solidFill>
                  <a:srgbClr val="019F6E"/>
                </a:solidFill>
              </a:defRPr>
            </a:lvl2pPr>
            <a:lvl3pPr>
              <a:defRPr sz="1500">
                <a:solidFill>
                  <a:srgbClr val="019F6E"/>
                </a:solidFill>
              </a:defRPr>
            </a:lvl3pPr>
            <a:lvl4pPr>
              <a:defRPr sz="1500">
                <a:solidFill>
                  <a:srgbClr val="019F6E"/>
                </a:solidFill>
              </a:defRPr>
            </a:lvl4pPr>
            <a:lvl5pPr>
              <a:defRPr sz="1500">
                <a:solidFill>
                  <a:srgbClr val="019F6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="" xmlns:a16="http://schemas.microsoft.com/office/drawing/2014/main" id="{017E3D16-B4F2-4D56-9826-A8932FCF4C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8818" y="2900008"/>
            <a:ext cx="3384000" cy="287338"/>
          </a:xfrm>
        </p:spPr>
        <p:txBody>
          <a:bodyPr/>
          <a:lstStyle>
            <a:lvl1pPr>
              <a:defRPr sz="1500">
                <a:solidFill>
                  <a:srgbClr val="019F6E"/>
                </a:solidFill>
              </a:defRPr>
            </a:lvl1pPr>
            <a:lvl2pPr>
              <a:defRPr sz="1500">
                <a:solidFill>
                  <a:srgbClr val="019F6E"/>
                </a:solidFill>
              </a:defRPr>
            </a:lvl2pPr>
            <a:lvl3pPr>
              <a:defRPr sz="1500">
                <a:solidFill>
                  <a:srgbClr val="019F6E"/>
                </a:solidFill>
              </a:defRPr>
            </a:lvl3pPr>
            <a:lvl4pPr>
              <a:defRPr sz="1500">
                <a:solidFill>
                  <a:srgbClr val="019F6E"/>
                </a:solidFill>
              </a:defRPr>
            </a:lvl4pPr>
            <a:lvl5pPr>
              <a:defRPr sz="1500">
                <a:solidFill>
                  <a:srgbClr val="019F6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="" xmlns:a16="http://schemas.microsoft.com/office/drawing/2014/main" id="{D2546D16-C4BA-4034-973B-53F5E19439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54362" y="2900008"/>
            <a:ext cx="3384000" cy="287338"/>
          </a:xfrm>
        </p:spPr>
        <p:txBody>
          <a:bodyPr/>
          <a:lstStyle>
            <a:lvl1pPr>
              <a:defRPr sz="1500">
                <a:solidFill>
                  <a:srgbClr val="019F6E"/>
                </a:solidFill>
              </a:defRPr>
            </a:lvl1pPr>
            <a:lvl2pPr>
              <a:defRPr sz="1500">
                <a:solidFill>
                  <a:srgbClr val="019F6E"/>
                </a:solidFill>
              </a:defRPr>
            </a:lvl2pPr>
            <a:lvl3pPr>
              <a:defRPr sz="1500">
                <a:solidFill>
                  <a:srgbClr val="019F6E"/>
                </a:solidFill>
              </a:defRPr>
            </a:lvl3pPr>
            <a:lvl4pPr>
              <a:defRPr sz="1500">
                <a:solidFill>
                  <a:srgbClr val="019F6E"/>
                </a:solidFill>
              </a:defRPr>
            </a:lvl4pPr>
            <a:lvl5pPr>
              <a:defRPr sz="1500">
                <a:solidFill>
                  <a:srgbClr val="019F6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="" xmlns:a16="http://schemas.microsoft.com/office/drawing/2014/main" id="{CEEC44E5-0089-431F-AB3B-BB8C32F10D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62934" y="2241550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="" xmlns:a16="http://schemas.microsoft.com/office/drawing/2014/main" id="{B3B83A00-5DEC-433E-8BDA-CD4528048B2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8818" y="2241550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="" xmlns:a16="http://schemas.microsoft.com/office/drawing/2014/main" id="{FDC62C96-2944-40A8-95EB-480BF3A001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4362" y="2241550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3253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5745" y="3986315"/>
            <a:ext cx="3384000" cy="243036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="" xmlns:a16="http://schemas.microsoft.com/office/drawing/2014/main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82025" y="3974370"/>
            <a:ext cx="3384000" cy="243036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70EF7A9E-72DA-482F-86B5-42277E49061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47965" y="3974370"/>
            <a:ext cx="3384000" cy="243036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="" xmlns:a16="http://schemas.microsoft.com/office/drawing/2014/main" id="{CEEC44E5-0089-431F-AB3B-BB8C32F10D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5745" y="3559467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="" xmlns:a16="http://schemas.microsoft.com/office/drawing/2014/main" id="{B3B83A00-5DEC-433E-8BDA-CD4528048B2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82025" y="3559467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="" xmlns:a16="http://schemas.microsoft.com/office/drawing/2014/main" id="{FDC62C96-2944-40A8-95EB-480BF3A001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47965" y="3559467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="" xmlns:a16="http://schemas.microsoft.com/office/drawing/2014/main" id="{7F8B0A64-3840-4BE2-94B1-151F8C36797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75634" y="1845050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mage icon to add graphic</a:t>
            </a:r>
            <a:endParaRPr lang="en-GB" dirty="0"/>
          </a:p>
        </p:txBody>
      </p:sp>
      <p:sp>
        <p:nvSpPr>
          <p:cNvPr id="19" name="Content Placeholder 17">
            <a:extLst>
              <a:ext uri="{FF2B5EF4-FFF2-40B4-BE49-F238E27FC236}">
                <a16:creationId xmlns="" xmlns:a16="http://schemas.microsoft.com/office/drawing/2014/main" id="{9657CC1D-CB94-407E-8F48-E20F55FB847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85876" y="1846178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mage icon to add graphic</a:t>
            </a:r>
            <a:endParaRPr lang="en-GB" dirty="0"/>
          </a:p>
        </p:txBody>
      </p:sp>
      <p:sp>
        <p:nvSpPr>
          <p:cNvPr id="20" name="Content Placeholder 17">
            <a:extLst>
              <a:ext uri="{FF2B5EF4-FFF2-40B4-BE49-F238E27FC236}">
                <a16:creationId xmlns="" xmlns:a16="http://schemas.microsoft.com/office/drawing/2014/main" id="{54D5BE04-C477-46CD-A058-9CF83E54981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47965" y="1871096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mage icon to add graph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01906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C8EF1812-5BD6-4963-9B40-06EA6BC0B8BC}"/>
              </a:ext>
            </a:extLst>
          </p:cNvPr>
          <p:cNvSpPr/>
          <p:nvPr userDrawn="1"/>
        </p:nvSpPr>
        <p:spPr>
          <a:xfrm>
            <a:off x="0" y="4212000"/>
            <a:ext cx="6516000" cy="2016000"/>
          </a:xfrm>
          <a:prstGeom prst="rect">
            <a:avLst/>
          </a:prstGeom>
          <a:solidFill>
            <a:srgbClr val="006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7999" y="4756899"/>
            <a:ext cx="5513075" cy="926203"/>
          </a:xfrm>
        </p:spPr>
        <p:txBody>
          <a:bodyPr anchor="ctr" anchorCtr="0"/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D22327F1-4BD8-4374-BD04-2A18D651E3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8073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27839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DBD166C7-6146-4983-8651-0FDDFBD78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04191"/>
            <a:ext cx="8476912" cy="9396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6A84AEFF-53C3-4314-8AFB-AD0D8EA03C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03275" y="1461333"/>
            <a:ext cx="10735277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r>
              <a:rPr lang="en-US" dirty="0"/>
              <a:t>Six</a:t>
            </a:r>
          </a:p>
          <a:p>
            <a:pPr lvl="4"/>
            <a:r>
              <a:rPr lang="en-US" dirty="0"/>
              <a:t>Seven </a:t>
            </a:r>
          </a:p>
          <a:p>
            <a:pPr lvl="4"/>
            <a:r>
              <a:rPr lang="en-US" dirty="0"/>
              <a:t>Eight</a:t>
            </a:r>
          </a:p>
          <a:p>
            <a:pPr lvl="4"/>
            <a:r>
              <a:rPr lang="en-US" dirty="0"/>
              <a:t>nin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BBEDCD4-4FD2-44F4-BBB7-CBA78F00F2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6086" y="6557897"/>
            <a:ext cx="27432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14B761E8-91E0-409F-AD94-8B9834DAC8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3165" y="6557897"/>
            <a:ext cx="41148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E4C94E7-48FF-43D7-AAAD-B9495BC822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9988" y="6577352"/>
            <a:ext cx="27432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E9A501-B793-4482-A040-76DBD3DA97E7}" type="slidenum">
              <a:rPr lang="en-GB" smtClean="0"/>
              <a:t>‹nº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2B186858-C50A-40BA-8D4E-8A817C800D8D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8073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311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59" r:id="rId2"/>
    <p:sldLayoutId id="2147483650" r:id="rId3"/>
    <p:sldLayoutId id="2147483664" r:id="rId4"/>
    <p:sldLayoutId id="2147483652" r:id="rId5"/>
    <p:sldLayoutId id="2147483668" r:id="rId6"/>
    <p:sldLayoutId id="2147483667" r:id="rId7"/>
    <p:sldLayoutId id="2147483666" r:id="rId8"/>
    <p:sldLayoutId id="2147483676" r:id="rId9"/>
    <p:sldLayoutId id="2147483661" r:id="rId10"/>
    <p:sldLayoutId id="2147483654" r:id="rId11"/>
    <p:sldLayoutId id="2147483681" r:id="rId12"/>
    <p:sldLayoutId id="2147483655" r:id="rId13"/>
    <p:sldLayoutId id="2147483677" r:id="rId14"/>
    <p:sldLayoutId id="2147483671" r:id="rId15"/>
    <p:sldLayoutId id="2147483672" r:id="rId16"/>
    <p:sldLayoutId id="2147483663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00684B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34988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2" pos="483" userDrawn="1">
          <p15:clr>
            <a:srgbClr val="F26B43"/>
          </p15:clr>
        </p15:guide>
        <p15:guide id="3" orient="horz" pos="4042" userDrawn="1">
          <p15:clr>
            <a:srgbClr val="F26B43"/>
          </p15:clr>
        </p15:guide>
        <p15:guide id="4" pos="7265" userDrawn="1">
          <p15:clr>
            <a:srgbClr val="F26B43"/>
          </p15:clr>
        </p15:guide>
        <p15:guide id="5" orient="horz" pos="1412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2092" userDrawn="1">
          <p15:clr>
            <a:srgbClr val="F26B43"/>
          </p15:clr>
        </p15:guide>
        <p15:guide id="8" orient="horz" pos="18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1.xml"/><Relationship Id="rId7" Type="http://schemas.openxmlformats.org/officeDocument/2006/relationships/image" Target="../media/image1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3.xml"/><Relationship Id="rId7" Type="http://schemas.openxmlformats.org/officeDocument/2006/relationships/image" Target="../media/image1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5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9.xml"/><Relationship Id="rId7" Type="http://schemas.openxmlformats.org/officeDocument/2006/relationships/image" Target="../media/image1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971801C2-329F-D544-8095-EB6E071CD0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815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Slide do think-cell" r:id="rId5" imgW="7772400" imgH="10058400" progId="TCLayout.ActiveDocument.1">
                  <p:embed/>
                </p:oleObj>
              </mc:Choice>
              <mc:Fallback>
                <p:oleObj name="Slide do think-cell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="" xmlns:a16="http://schemas.microsoft.com/office/drawing/2014/main" id="{971801C2-329F-D544-8095-EB6E071CD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447B2E5B-C652-2C44-BC7F-F1B639A439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8A52BEE-D45D-4425-B50D-1BBC784C90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727" y="2376000"/>
            <a:ext cx="9791687" cy="1226037"/>
          </a:xfrm>
        </p:spPr>
        <p:txBody>
          <a:bodyPr/>
          <a:lstStyle/>
          <a:p>
            <a:r>
              <a:rPr lang="en-GB" dirty="0" smtClean="0"/>
              <a:t>Credit Card Default</a:t>
            </a:r>
            <a:r>
              <a:rPr lang="en-GB" dirty="0"/>
              <a:t/>
            </a:r>
            <a:br>
              <a:rPr lang="en-GB" dirty="0"/>
            </a:br>
            <a:r>
              <a:rPr lang="en-GB" sz="2800" dirty="0" smtClean="0"/>
              <a:t>Clients database evaluation</a:t>
            </a:r>
            <a:endParaRPr lang="en-US" sz="3600" dirty="0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1ECB0F44-F4A5-4547-BA5E-A195F118A9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7727" y="4190724"/>
            <a:ext cx="6120000" cy="181002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b="1" dirty="0" err="1"/>
              <a:t>SingRs</a:t>
            </a:r>
            <a:endParaRPr lang="en-US" sz="1600" b="1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Shahan ASHRAF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Fabio BRITO DA FONSECA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Alana HARRI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err="1"/>
              <a:t>Dimitar</a:t>
            </a:r>
            <a:r>
              <a:rPr lang="en-US" sz="1600" dirty="0"/>
              <a:t> MILENKOV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Misha OBOLONSKYI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E0064056-CA95-49AF-A78F-BE74185FB5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728" y="6000750"/>
            <a:ext cx="4114800" cy="262647"/>
          </a:xfrm>
        </p:spPr>
        <p:txBody>
          <a:bodyPr/>
          <a:lstStyle/>
          <a:p>
            <a:r>
              <a:rPr lang="en-US" dirty="0"/>
              <a:t>January 2019</a:t>
            </a:r>
          </a:p>
        </p:txBody>
      </p:sp>
    </p:spTree>
    <p:extLst>
      <p:ext uri="{BB962C8B-B14F-4D97-AF65-F5344CB8AC3E}">
        <p14:creationId xmlns:p14="http://schemas.microsoft.com/office/powerpoint/2010/main" val="14098093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798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3D02DF4E-81B9-4FB2-AE2D-B319E0B52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clusion</a:t>
            </a:r>
            <a:endParaRPr lang="en-GB" dirty="0"/>
          </a:p>
        </p:txBody>
      </p:sp>
      <p:graphicFrame>
        <p:nvGraphicFramePr>
          <p:cNvPr id="6" name="Espaço Reservado para Conteúdo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17019795"/>
              </p:ext>
            </p:extLst>
          </p:nvPr>
        </p:nvGraphicFramePr>
        <p:xfrm>
          <a:off x="579550" y="1654991"/>
          <a:ext cx="10753858" cy="2929886"/>
        </p:xfrm>
        <a:graphic>
          <a:graphicData uri="http://schemas.openxmlformats.org/drawingml/2006/table">
            <a:tbl>
              <a:tblPr>
                <a:tableStyleId>{85BE263C-DBD7-4A20-BB59-AAB30ACAA65A}</a:tableStyleId>
              </a:tblPr>
              <a:tblGrid>
                <a:gridCol w="2040512"/>
                <a:gridCol w="1374660"/>
                <a:gridCol w="1374660"/>
                <a:gridCol w="2119270"/>
                <a:gridCol w="1976075"/>
                <a:gridCol w="1868681"/>
              </a:tblGrid>
              <a:tr h="3170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Method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Good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Bad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Revenue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Loss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Profit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5739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err="1">
                          <a:effectLst/>
                        </a:rPr>
                        <a:t>stepAIC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634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92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    </a:t>
                      </a:r>
                      <a:r>
                        <a:rPr lang="en-US" sz="1800" u="none" strike="noStrike" dirty="0" smtClean="0">
                          <a:effectLst/>
                        </a:rPr>
                        <a:t>951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-</a:t>
                      </a:r>
                      <a:r>
                        <a:rPr lang="en-US" sz="1800" u="none" strike="noStrike" dirty="0" smtClean="0">
                          <a:effectLst/>
                        </a:rPr>
                        <a:t>460.0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</a:t>
                      </a:r>
                      <a:r>
                        <a:rPr lang="en-US" sz="1800" u="none" strike="noStrike" dirty="0" smtClean="0">
                          <a:effectLst/>
                        </a:rPr>
                        <a:t>491.0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5739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err="1" smtClean="0">
                          <a:effectLst/>
                        </a:rPr>
                        <a:t>cTre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621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77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    </a:t>
                      </a:r>
                      <a:r>
                        <a:rPr lang="en-US" sz="1800" u="none" strike="noStrike" dirty="0" smtClean="0">
                          <a:effectLst/>
                        </a:rPr>
                        <a:t>931.5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-</a:t>
                      </a:r>
                      <a:r>
                        <a:rPr lang="en-US" sz="1800" u="none" strike="noStrike" dirty="0" smtClean="0">
                          <a:effectLst/>
                        </a:rPr>
                        <a:t>385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</a:t>
                      </a:r>
                      <a:r>
                        <a:rPr lang="en-US" sz="1800" u="none" strike="noStrike" dirty="0" smtClean="0">
                          <a:effectLst/>
                        </a:rPr>
                        <a:t>546.5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5739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err="1" smtClean="0">
                          <a:effectLst/>
                        </a:rPr>
                        <a:t>rPar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745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133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</a:t>
                      </a:r>
                      <a:r>
                        <a:rPr lang="en-US" sz="1800" u="none" strike="noStrike" dirty="0" smtClean="0">
                          <a:effectLst/>
                        </a:rPr>
                        <a:t>1.117.5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-</a:t>
                      </a:r>
                      <a:r>
                        <a:rPr lang="en-US" sz="1800" u="none" strike="noStrike" dirty="0" smtClean="0">
                          <a:effectLst/>
                        </a:rPr>
                        <a:t>665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</a:t>
                      </a:r>
                      <a:r>
                        <a:rPr lang="en-US" sz="1800" u="none" strike="noStrike" dirty="0" smtClean="0">
                          <a:effectLst/>
                        </a:rPr>
                        <a:t>452.5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170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randomForest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5739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xgboost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762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175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</a:t>
                      </a:r>
                      <a:r>
                        <a:rPr lang="en-US" sz="1800" u="none" strike="noStrike" dirty="0" smtClean="0">
                          <a:effectLst/>
                        </a:rPr>
                        <a:t>1.143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-</a:t>
                      </a:r>
                      <a:r>
                        <a:rPr lang="en-US" sz="1800" u="none" strike="noStrike" dirty="0" smtClean="0">
                          <a:effectLst/>
                        </a:rPr>
                        <a:t>875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</a:t>
                      </a:r>
                      <a:r>
                        <a:rPr lang="en-US" sz="1800" u="none" strike="noStrike" dirty="0" smtClean="0">
                          <a:effectLst/>
                        </a:rPr>
                        <a:t>268.0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9E4C9E0A-AFEB-714E-9A6D-E9AC60DE6D68}"/>
              </a:ext>
            </a:extLst>
          </p:cNvPr>
          <p:cNvSpPr/>
          <p:nvPr/>
        </p:nvSpPr>
        <p:spPr>
          <a:xfrm>
            <a:off x="1082930" y="5217628"/>
            <a:ext cx="92566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 smtClean="0"/>
              <a:t>asdas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15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0958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5710ECAB-75F2-804E-A333-113C4E4CD5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4" name="Slide do think-cell" r:id="rId5" imgW="7772400" imgH="10058400" progId="TCLayout.ActiveDocument.1">
                  <p:embed/>
                </p:oleObj>
              </mc:Choice>
              <mc:Fallback>
                <p:oleObj name="Slide do think-cell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5710ECAB-75F2-804E-A333-113C4E4CD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11AC4B78-BD11-E74B-A613-7B18DD6249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32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32639F54-2D17-6940-9D6F-692B2443BBAB}"/>
              </a:ext>
            </a:extLst>
          </p:cNvPr>
          <p:cNvSpPr/>
          <p:nvPr/>
        </p:nvSpPr>
        <p:spPr bwMode="auto">
          <a:xfrm>
            <a:off x="8184232" y="0"/>
            <a:ext cx="2808632" cy="14847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</a:pPr>
            <a:endParaRPr lang="en-US" sz="2500">
              <a:solidFill>
                <a:srgbClr val="5CA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94" name="Title 1">
            <a:extLst>
              <a:ext uri="{FF2B5EF4-FFF2-40B4-BE49-F238E27FC236}">
                <a16:creationId xmlns="" xmlns:a16="http://schemas.microsoft.com/office/drawing/2014/main" id="{975B7A04-B552-478C-BD68-6F17D553FC98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altLang="en-US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Overview</a:t>
            </a:r>
            <a:endParaRPr lang="fr-FR" altLang="en-US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59BC91D3-6CA1-470B-9CDD-EABE2E702E0C}"/>
              </a:ext>
            </a:extLst>
          </p:cNvPr>
          <p:cNvSpPr txBox="1"/>
          <p:nvPr/>
        </p:nvSpPr>
        <p:spPr>
          <a:xfrm>
            <a:off x="437883" y="1203063"/>
            <a:ext cx="11204618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/>
              <a:t>A major eastern-European bank wants to better predict the likelihood of default for its customers, as well as identify the key drivers that determine this likelihood. </a:t>
            </a:r>
          </a:p>
          <a:p>
            <a:pPr algn="just"/>
            <a:endParaRPr lang="en-GB" sz="2400" dirty="0" smtClean="0"/>
          </a:p>
          <a:p>
            <a:pPr algn="just"/>
            <a:r>
              <a:rPr lang="en-US" sz="2400" dirty="0"/>
              <a:t>The bank collected data on </a:t>
            </a:r>
            <a:r>
              <a:rPr lang="en-US" sz="2400" dirty="0" smtClean="0"/>
              <a:t>25000 </a:t>
            </a:r>
            <a:r>
              <a:rPr lang="en-US" sz="2400" dirty="0"/>
              <a:t>of their existing clients. Of those, </a:t>
            </a:r>
            <a:r>
              <a:rPr lang="en-US" sz="2400" dirty="0" smtClean="0"/>
              <a:t>1000 </a:t>
            </a:r>
            <a:r>
              <a:rPr lang="en-US" sz="2400" dirty="0"/>
              <a:t>were randomly selected to participate in a </a:t>
            </a:r>
            <a:r>
              <a:rPr lang="en-US" sz="2400" dirty="0" smtClean="0"/>
              <a:t>Data Analytics pilot project, in which a model has to predict the clients that will default a short-term credit line provided.</a:t>
            </a:r>
          </a:p>
          <a:p>
            <a:pPr algn="just"/>
            <a:endParaRPr lang="en-US" sz="2400" dirty="0"/>
          </a:p>
          <a:p>
            <a:pPr algn="just"/>
            <a:r>
              <a:rPr lang="en-US" sz="2400" dirty="0" smtClean="0"/>
              <a:t>The model was generate using the remaining 24000 clients. </a:t>
            </a:r>
            <a:endParaRPr lang="en-GB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dirty="0" smtClean="0"/>
          </a:p>
          <a:p>
            <a:endParaRPr lang="en-US" sz="2400" b="1" dirty="0" smtClean="0"/>
          </a:p>
          <a:p>
            <a:r>
              <a:rPr lang="en-US" sz="2400" b="1" dirty="0" smtClean="0"/>
              <a:t>The </a:t>
            </a:r>
            <a:r>
              <a:rPr lang="en-US" sz="2400" b="1" dirty="0"/>
              <a:t>ultimate question</a:t>
            </a:r>
            <a:r>
              <a:rPr lang="en-US" sz="2400" b="1" dirty="0" smtClean="0"/>
              <a:t>:</a:t>
            </a:r>
          </a:p>
          <a:p>
            <a:endParaRPr lang="en-US" sz="2400" b="1" dirty="0"/>
          </a:p>
          <a:p>
            <a:r>
              <a:rPr lang="en-US" sz="2400" b="1" dirty="0" smtClean="0"/>
              <a:t>To which </a:t>
            </a:r>
            <a:r>
              <a:rPr lang="en-US" sz="2400" b="1" dirty="0"/>
              <a:t>of the </a:t>
            </a:r>
            <a:r>
              <a:rPr lang="en-US" sz="2400" b="1" dirty="0" smtClean="0"/>
              <a:t>1000 </a:t>
            </a:r>
            <a:r>
              <a:rPr lang="en-US" sz="2400" b="1" dirty="0"/>
              <a:t>“new applicants” in the pilot should be issued credit?</a:t>
            </a:r>
            <a:endParaRPr lang="en-GB" sz="2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dirty="0"/>
          </a:p>
          <a:p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911714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475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5027DDC3-A77E-400D-9BC8-78A9B33ACE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ata Adjustment</a:t>
            </a:r>
            <a:endParaRPr lang="en-GB" dirty="0"/>
          </a:p>
        </p:txBody>
      </p:sp>
      <p:sp>
        <p:nvSpPr>
          <p:cNvPr id="8" name="Espaço Reservado para Conteúdo 7"/>
          <p:cNvSpPr>
            <a:spLocks noGrp="1"/>
          </p:cNvSpPr>
          <p:nvPr>
            <p:ph idx="1"/>
          </p:nvPr>
        </p:nvSpPr>
        <p:spPr>
          <a:xfrm>
            <a:off x="776381" y="1281027"/>
            <a:ext cx="10735277" cy="4955342"/>
          </a:xfrm>
        </p:spPr>
        <p:txBody>
          <a:bodyPr/>
          <a:lstStyle/>
          <a:p>
            <a:r>
              <a:rPr lang="en-US" sz="2400" dirty="0" smtClean="0"/>
              <a:t>In this phase, we took a closer look on the </a:t>
            </a:r>
            <a:r>
              <a:rPr lang="en-US" sz="2400" dirty="0"/>
              <a:t>available </a:t>
            </a:r>
            <a:r>
              <a:rPr lang="en-US" sz="2400" smtClean="0"/>
              <a:t>data in </a:t>
            </a:r>
            <a:r>
              <a:rPr lang="en-US" sz="2400" dirty="0" smtClean="0"/>
              <a:t>order to better understand it and perform the proper adjustments for the modeling phase. </a:t>
            </a:r>
          </a:p>
          <a:p>
            <a:endParaRPr lang="en-US" sz="2400" dirty="0"/>
          </a:p>
          <a:p>
            <a:r>
              <a:rPr lang="en-US" sz="2400" dirty="0" smtClean="0"/>
              <a:t>The following modifications were made:</a:t>
            </a:r>
          </a:p>
          <a:p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Removal of wrong or missing values, categorizing those registries as “Other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Separation of variable </a:t>
            </a:r>
            <a:r>
              <a:rPr lang="en-US" sz="2400" dirty="0" err="1" smtClean="0"/>
              <a:t>pay_X</a:t>
            </a:r>
            <a:r>
              <a:rPr lang="en-US" sz="2400" dirty="0" smtClean="0"/>
              <a:t> in three new variables</a:t>
            </a:r>
          </a:p>
          <a:p>
            <a:pPr marL="877888" lvl="4" indent="-342900"/>
            <a:r>
              <a:rPr lang="en-US" sz="2400" dirty="0" smtClean="0"/>
              <a:t>PAY_NONEED_X</a:t>
            </a:r>
            <a:endParaRPr lang="en-US" sz="2400" dirty="0"/>
          </a:p>
          <a:p>
            <a:pPr marL="877888" lvl="4" indent="-342900"/>
            <a:r>
              <a:rPr lang="en-US" sz="2400" dirty="0" smtClean="0"/>
              <a:t>PAY_FULL_X</a:t>
            </a:r>
            <a:endParaRPr lang="en-US" sz="2400" dirty="0"/>
          </a:p>
          <a:p>
            <a:pPr marL="877888" lvl="4" indent="-342900"/>
            <a:r>
              <a:rPr lang="en-US" sz="2400" dirty="0" smtClean="0"/>
              <a:t>PAY_ROLLING_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Change data types to better reflect what the variable means (</a:t>
            </a:r>
            <a:r>
              <a:rPr lang="en-US" sz="2400" dirty="0" err="1" smtClean="0"/>
              <a:t>e.g</a:t>
            </a:r>
            <a:r>
              <a:rPr lang="en-US" sz="2400" dirty="0" smtClean="0"/>
              <a:t> factor, integer, logical, etc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4664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9935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ethods applied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7C45D9B1-DF90-4CDE-BD7F-F6710FF40B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8" name="Espaço Reservado para Conteúdo 7"/>
          <p:cNvSpPr txBox="1">
            <a:spLocks/>
          </p:cNvSpPr>
          <p:nvPr/>
        </p:nvSpPr>
        <p:spPr>
          <a:xfrm>
            <a:off x="776381" y="1229511"/>
            <a:ext cx="10735277" cy="49553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4988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400" dirty="0" smtClean="0"/>
              <a:t>To prepare the data for modeling, the 24000 clients were divided in two groups, in which the </a:t>
            </a:r>
            <a:r>
              <a:rPr lang="en-US" sz="2400" b="1" dirty="0" smtClean="0"/>
              <a:t>training</a:t>
            </a:r>
            <a:r>
              <a:rPr lang="en-US" sz="2400" dirty="0" smtClean="0"/>
              <a:t> one would be used to generate the models and the </a:t>
            </a:r>
            <a:r>
              <a:rPr lang="en-US" sz="2400" b="1" dirty="0" smtClean="0"/>
              <a:t>testing</a:t>
            </a:r>
            <a:r>
              <a:rPr lang="en-US" sz="2400" dirty="0" smtClean="0"/>
              <a:t> one to validate it.</a:t>
            </a:r>
          </a:p>
          <a:p>
            <a:pPr marL="877888" lvl="4" indent="-342900"/>
            <a:r>
              <a:rPr lang="en-US" sz="2400" dirty="0" smtClean="0"/>
              <a:t>Training – 23000 clients</a:t>
            </a:r>
          </a:p>
          <a:p>
            <a:pPr marL="877888" lvl="4" indent="-342900"/>
            <a:r>
              <a:rPr lang="en-US" sz="2400" dirty="0" smtClean="0"/>
              <a:t>Testing – 1000 client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r>
              <a:rPr lang="en-US" sz="2400" dirty="0" smtClean="0"/>
              <a:t>Methods applied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 smtClean="0"/>
              <a:t>StepAIC</a:t>
            </a:r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 smtClean="0"/>
              <a:t>cTree</a:t>
            </a:r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 smtClean="0"/>
              <a:t>r</a:t>
            </a:r>
            <a:r>
              <a:rPr lang="en-US" sz="2400" dirty="0" err="1"/>
              <a:t>P</a:t>
            </a:r>
            <a:r>
              <a:rPr lang="en-US" sz="2400" dirty="0" err="1" smtClean="0"/>
              <a:t>art</a:t>
            </a:r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 smtClean="0"/>
              <a:t>RandomForest</a:t>
            </a:r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 smtClean="0"/>
              <a:t>xgBoost</a:t>
            </a:r>
            <a:r>
              <a:rPr lang="en-US" dirty="0" smtClean="0"/>
              <a:t>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365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0691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ults - </a:t>
            </a:r>
            <a:r>
              <a:rPr lang="en-GB" dirty="0" err="1" smtClean="0"/>
              <a:t>StepAIC</a:t>
            </a:r>
            <a:endParaRPr lang="en-GB" dirty="0"/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33912" y="1243822"/>
            <a:ext cx="6010517" cy="4397123"/>
          </a:xfrm>
          <a:prstGeom prst="rect">
            <a:avLst/>
          </a:prstGeom>
        </p:spPr>
      </p:pic>
      <p:sp>
        <p:nvSpPr>
          <p:cNvPr id="13" name="Retângulo 12"/>
          <p:cNvSpPr/>
          <p:nvPr/>
        </p:nvSpPr>
        <p:spPr>
          <a:xfrm>
            <a:off x="6482929" y="6063727"/>
            <a:ext cx="14670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[1] 0.769103</a:t>
            </a:r>
          </a:p>
        </p:txBody>
      </p:sp>
      <p:sp>
        <p:nvSpPr>
          <p:cNvPr id="14" name="Rectangle 8">
            <a:extLst>
              <a:ext uri="{FF2B5EF4-FFF2-40B4-BE49-F238E27FC236}">
                <a16:creationId xmlns="" xmlns:a16="http://schemas.microsoft.com/office/drawing/2014/main" id="{9E4C9E0A-AFEB-714E-9A6D-E9AC60DE6D68}"/>
              </a:ext>
            </a:extLst>
          </p:cNvPr>
          <p:cNvSpPr/>
          <p:nvPr/>
        </p:nvSpPr>
        <p:spPr>
          <a:xfrm>
            <a:off x="1108688" y="5879061"/>
            <a:ext cx="92566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 smtClean="0"/>
              <a:t>asdasd</a:t>
            </a:r>
            <a:endParaRPr lang="en-US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9191" y="1243822"/>
            <a:ext cx="3820612" cy="3907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870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ults - </a:t>
            </a:r>
            <a:r>
              <a:rPr lang="en-GB" dirty="0" err="1" smtClean="0"/>
              <a:t>cTre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E4C9E0A-AFEB-714E-9A6D-E9AC60DE6D68}"/>
              </a:ext>
            </a:extLst>
          </p:cNvPr>
          <p:cNvSpPr/>
          <p:nvPr/>
        </p:nvSpPr>
        <p:spPr>
          <a:xfrm>
            <a:off x="1185960" y="5904570"/>
            <a:ext cx="92566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 smtClean="0"/>
              <a:t>asdasd</a:t>
            </a:r>
            <a:endParaRPr lang="en-US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37915" y="1243823"/>
            <a:ext cx="5886776" cy="427293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367291" y="590457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[1] 0.7785245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4692" y="1243823"/>
            <a:ext cx="4160413" cy="424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688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0976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ults - </a:t>
            </a:r>
            <a:r>
              <a:rPr lang="en-GB" dirty="0" err="1" smtClean="0"/>
              <a:t>rPart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E4C9E0A-AFEB-714E-9A6D-E9AC60DE6D68}"/>
              </a:ext>
            </a:extLst>
          </p:cNvPr>
          <p:cNvSpPr/>
          <p:nvPr/>
        </p:nvSpPr>
        <p:spPr>
          <a:xfrm>
            <a:off x="1173082" y="5535238"/>
            <a:ext cx="92566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 smtClean="0"/>
              <a:t>asdasd</a:t>
            </a:r>
            <a:endParaRPr lang="en-US" dirty="0"/>
          </a:p>
        </p:txBody>
      </p:sp>
      <p:sp>
        <p:nvSpPr>
          <p:cNvPr id="13" name="Retângulo 12"/>
          <p:cNvSpPr/>
          <p:nvPr/>
        </p:nvSpPr>
        <p:spPr>
          <a:xfrm>
            <a:off x="5801387" y="5719904"/>
            <a:ext cx="15781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[1] 0.7113395</a:t>
            </a:r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3187" y="1243823"/>
            <a:ext cx="4171650" cy="4133378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41324" y="1216436"/>
            <a:ext cx="6023904" cy="4346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25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3552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ults - </a:t>
            </a:r>
            <a:r>
              <a:rPr lang="en-GB" dirty="0" err="1" smtClean="0"/>
              <a:t>RandomForest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E4C9E0A-AFEB-714E-9A6D-E9AC60DE6D68}"/>
              </a:ext>
            </a:extLst>
          </p:cNvPr>
          <p:cNvSpPr/>
          <p:nvPr/>
        </p:nvSpPr>
        <p:spPr>
          <a:xfrm>
            <a:off x="1173082" y="5535238"/>
            <a:ext cx="92566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 smtClean="0"/>
              <a:t>asdasd</a:t>
            </a:r>
            <a:endParaRPr lang="en-US" dirty="0"/>
          </a:p>
        </p:txBody>
      </p:sp>
      <p:sp>
        <p:nvSpPr>
          <p:cNvPr id="13" name="Retângulo 12"/>
          <p:cNvSpPr/>
          <p:nvPr/>
        </p:nvSpPr>
        <p:spPr>
          <a:xfrm>
            <a:off x="7367523" y="5693275"/>
            <a:ext cx="4411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[1</a:t>
            </a:r>
            <a:r>
              <a:rPr lang="en-US" dirty="0" smtClean="0"/>
              <a:t>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644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1423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ults - </a:t>
            </a:r>
            <a:r>
              <a:rPr lang="en-GB" dirty="0" err="1" smtClean="0"/>
              <a:t>xgBoost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E4C9E0A-AFEB-714E-9A6D-E9AC60DE6D68}"/>
              </a:ext>
            </a:extLst>
          </p:cNvPr>
          <p:cNvSpPr/>
          <p:nvPr/>
        </p:nvSpPr>
        <p:spPr>
          <a:xfrm>
            <a:off x="1173082" y="5719904"/>
            <a:ext cx="92566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 smtClean="0"/>
              <a:t>asdasd</a:t>
            </a:r>
            <a:endParaRPr lang="en-US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3082" y="1243822"/>
            <a:ext cx="4068619" cy="413403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01162" y="1401208"/>
            <a:ext cx="5310909" cy="3950517"/>
          </a:xfrm>
          <a:prstGeom prst="rect">
            <a:avLst/>
          </a:prstGeom>
        </p:spPr>
      </p:pic>
      <p:sp>
        <p:nvSpPr>
          <p:cNvPr id="7" name="Retângulo 6"/>
          <p:cNvSpPr/>
          <p:nvPr/>
        </p:nvSpPr>
        <p:spPr>
          <a:xfrm>
            <a:off x="6727901" y="5719904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[1] 0.7652635</a:t>
            </a:r>
          </a:p>
        </p:txBody>
      </p:sp>
    </p:spTree>
    <p:extLst>
      <p:ext uri="{BB962C8B-B14F-4D97-AF65-F5344CB8AC3E}">
        <p14:creationId xmlns:p14="http://schemas.microsoft.com/office/powerpoint/2010/main" val="1849466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szMBqBKuEL7OyZYxcH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170mCR.6AaxQwfUH3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cAxaDlQUy20eJPxkbo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c126_pSfmum13KWAF9Rg"/>
</p:tagLst>
</file>

<file path=ppt/theme/theme1.xml><?xml version="1.0" encoding="utf-8"?>
<a:theme xmlns:a="http://schemas.openxmlformats.org/drawingml/2006/main" name="Office Theme">
  <a:themeElements>
    <a:clrScheme name="INSEAD">
      <a:dk1>
        <a:srgbClr val="000000"/>
      </a:dk1>
      <a:lt1>
        <a:sysClr val="window" lastClr="FFFFFF"/>
      </a:lt1>
      <a:dk2>
        <a:srgbClr val="005548"/>
      </a:dk2>
      <a:lt2>
        <a:srgbClr val="E7E6E6"/>
      </a:lt2>
      <a:accent1>
        <a:srgbClr val="F38B32"/>
      </a:accent1>
      <a:accent2>
        <a:srgbClr val="019F6E"/>
      </a:accent2>
      <a:accent3>
        <a:srgbClr val="4F306B"/>
      </a:accent3>
      <a:accent4>
        <a:srgbClr val="00684B"/>
      </a:accent4>
      <a:accent5>
        <a:srgbClr val="8883BD"/>
      </a:accent5>
      <a:accent6>
        <a:srgbClr val="911726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NSEAD template v1.potx" id="{6E9D0361-4F02-480F-98B7-A222CCE8B3AF}" vid="{639721E0-FFF1-4914-97EF-3AB9662389D1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DD7205A2DDBA4487E9A5C9FC16CF81" ma:contentTypeVersion="4" ma:contentTypeDescription="Create a new document." ma:contentTypeScope="" ma:versionID="1b2c222a45430946f79f1b6b0ba18574">
  <xsd:schema xmlns:xsd="http://www.w3.org/2001/XMLSchema" xmlns:xs="http://www.w3.org/2001/XMLSchema" xmlns:p="http://schemas.microsoft.com/office/2006/metadata/properties" xmlns:ns2="c051ebf1-aa48-417b-abf6-de898650a2ad" targetNamespace="http://schemas.microsoft.com/office/2006/metadata/properties" ma:root="true" ma:fieldsID="7fde69b67cf1847030709ac9a2109ab1" ns2:_="">
    <xsd:import namespace="c051ebf1-aa48-417b-abf6-de898650a2a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51ebf1-aa48-417b-abf6-de898650a2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D96E5E9-8845-4156-ACEC-1B79D773D3C0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c051ebf1-aa48-417b-abf6-de898650a2ad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22AACE-0521-4859-99D4-E79F3A0BAC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02AC8E-2EED-4615-899A-65D9C74E2442}">
  <ds:schemaRefs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c051ebf1-aa48-417b-abf6-de898650a2ad"/>
    <ds:schemaRef ds:uri="http://purl.org/dc/terms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SEAD template v1</Template>
  <TotalTime>814</TotalTime>
  <Words>366</Words>
  <Application>Microsoft Office PowerPoint</Application>
  <PresentationFormat>Widescreen</PresentationFormat>
  <Paragraphs>98</Paragraphs>
  <Slides>11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17" baseType="lpstr">
      <vt:lpstr>ＭＳ Ｐゴシック</vt:lpstr>
      <vt:lpstr>Arial</vt:lpstr>
      <vt:lpstr>Calibri</vt:lpstr>
      <vt:lpstr>Roboto Slab thin</vt:lpstr>
      <vt:lpstr>Office Theme</vt:lpstr>
      <vt:lpstr>Slide do think-cell</vt:lpstr>
      <vt:lpstr>Credit Card Default Clients database evaluation</vt:lpstr>
      <vt:lpstr>Overview</vt:lpstr>
      <vt:lpstr>Data Adjustment</vt:lpstr>
      <vt:lpstr>Methods applied</vt:lpstr>
      <vt:lpstr>Results - StepAIC</vt:lpstr>
      <vt:lpstr>Results - cTree</vt:lpstr>
      <vt:lpstr>Results - rPart</vt:lpstr>
      <vt:lpstr>Results - RandomForest</vt:lpstr>
      <vt:lpstr>Results - xgBoost</vt:lpstr>
      <vt:lpstr>Conclusion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EMONTESE Thomas</dc:creator>
  <cp:lastModifiedBy>MBA</cp:lastModifiedBy>
  <cp:revision>78</cp:revision>
  <dcterms:created xsi:type="dcterms:W3CDTF">2018-09-27T07:46:08Z</dcterms:created>
  <dcterms:modified xsi:type="dcterms:W3CDTF">2019-02-05T17:0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DD7205A2DDBA4487E9A5C9FC16CF81</vt:lpwstr>
  </property>
</Properties>
</file>